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7"/>
  </p:notesMasterIdLst>
  <p:sldIdLst>
    <p:sldId id="2597" r:id="rId2"/>
    <p:sldId id="257" r:id="rId3"/>
    <p:sldId id="2667" r:id="rId4"/>
    <p:sldId id="2616" r:id="rId5"/>
    <p:sldId id="2668" r:id="rId6"/>
    <p:sldId id="2618" r:id="rId7"/>
    <p:sldId id="2669" r:id="rId8"/>
    <p:sldId id="2670" r:id="rId9"/>
    <p:sldId id="2671" r:id="rId10"/>
    <p:sldId id="2672" r:id="rId11"/>
    <p:sldId id="2673" r:id="rId12"/>
    <p:sldId id="2674" r:id="rId13"/>
    <p:sldId id="2675" r:id="rId14"/>
    <p:sldId id="2676" r:id="rId15"/>
    <p:sldId id="2677" r:id="rId16"/>
    <p:sldId id="2682" r:id="rId17"/>
    <p:sldId id="2683" r:id="rId18"/>
    <p:sldId id="2685" r:id="rId19"/>
    <p:sldId id="2684" r:id="rId20"/>
    <p:sldId id="2689" r:id="rId21"/>
    <p:sldId id="2688" r:id="rId22"/>
    <p:sldId id="2690" r:id="rId23"/>
    <p:sldId id="2678" r:id="rId24"/>
    <p:sldId id="2680" r:id="rId25"/>
    <p:sldId id="269" r:id="rId26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7"/>
          </p14:sldIdLst>
        </p14:section>
        <p14:section name="Textfolien" id="{32261FCD-A1CF-421E-AAD7-61F8B72BFF9D}">
          <p14:sldIdLst>
            <p14:sldId id="257"/>
            <p14:sldId id="2667"/>
            <p14:sldId id="2616"/>
            <p14:sldId id="2668"/>
            <p14:sldId id="2618"/>
            <p14:sldId id="2669"/>
            <p14:sldId id="2670"/>
            <p14:sldId id="2671"/>
            <p14:sldId id="2672"/>
            <p14:sldId id="2673"/>
            <p14:sldId id="2674"/>
            <p14:sldId id="2675"/>
            <p14:sldId id="2676"/>
            <p14:sldId id="2677"/>
            <p14:sldId id="2682"/>
            <p14:sldId id="2683"/>
            <p14:sldId id="2685"/>
            <p14:sldId id="2684"/>
            <p14:sldId id="2689"/>
            <p14:sldId id="2688"/>
            <p14:sldId id="2690"/>
            <p14:sldId id="2678"/>
            <p14:sldId id="2680"/>
            <p14:sldId id="269"/>
          </p14:sldIdLst>
        </p14:section>
        <p14:section name="Schlussfolien" id="{70B6E138-C28E-4A5D-AAB7-7C10B7242A6D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B493C24-686E-EC92-F83C-E140F7CA7702}" name="Sofia Hilt" initials="SH" userId="S::sofia.hilt@uni-a.de::5380e503-3859-480a-a345-c1539a4571d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rgit Reß" initials="BR" lastIdx="2" clrIdx="0">
    <p:extLst>
      <p:ext uri="{19B8F6BF-5375-455C-9EA6-DF929625EA0E}">
        <p15:presenceInfo xmlns:p15="http://schemas.microsoft.com/office/powerpoint/2012/main" userId="S::birgit.ress@uni-a.de::3d2d47bf-c8fe-4cf3-bff2-bfb18177d4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72" autoAdjust="0"/>
    <p:restoredTop sz="94243" autoAdjust="0"/>
  </p:normalViewPr>
  <p:slideViewPr>
    <p:cSldViewPr snapToGrid="0">
      <p:cViewPr varScale="1">
        <p:scale>
          <a:sx n="119" d="100"/>
          <a:sy n="119" d="100"/>
        </p:scale>
        <p:origin x="300" y="138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8/10/relationships/authors" Target="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9.xml"/><Relationship Id="rId13" Type="http://schemas.openxmlformats.org/officeDocument/2006/relationships/slide" Target="slides/slide14.xml"/><Relationship Id="rId18" Type="http://schemas.openxmlformats.org/officeDocument/2006/relationships/slide" Target="slides/slide19.xml"/><Relationship Id="rId3" Type="http://schemas.openxmlformats.org/officeDocument/2006/relationships/slide" Target="slides/slide4.xml"/><Relationship Id="rId21" Type="http://schemas.openxmlformats.org/officeDocument/2006/relationships/slide" Target="slides/slide22.xml"/><Relationship Id="rId7" Type="http://schemas.openxmlformats.org/officeDocument/2006/relationships/slide" Target="slides/slide8.xml"/><Relationship Id="rId12" Type="http://schemas.openxmlformats.org/officeDocument/2006/relationships/slide" Target="slides/slide13.xml"/><Relationship Id="rId17" Type="http://schemas.openxmlformats.org/officeDocument/2006/relationships/slide" Target="slides/slide18.xml"/><Relationship Id="rId2" Type="http://schemas.openxmlformats.org/officeDocument/2006/relationships/slide" Target="slides/slide3.xml"/><Relationship Id="rId16" Type="http://schemas.openxmlformats.org/officeDocument/2006/relationships/slide" Target="slides/slide17.xml"/><Relationship Id="rId20" Type="http://schemas.openxmlformats.org/officeDocument/2006/relationships/slide" Target="slides/slide21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11" Type="http://schemas.openxmlformats.org/officeDocument/2006/relationships/slide" Target="slides/slide12.xml"/><Relationship Id="rId5" Type="http://schemas.openxmlformats.org/officeDocument/2006/relationships/slide" Target="slides/slide6.xml"/><Relationship Id="rId15" Type="http://schemas.openxmlformats.org/officeDocument/2006/relationships/slide" Target="slides/slide16.xml"/><Relationship Id="rId23" Type="http://schemas.openxmlformats.org/officeDocument/2006/relationships/slide" Target="slides/slide24.xml"/><Relationship Id="rId10" Type="http://schemas.openxmlformats.org/officeDocument/2006/relationships/slide" Target="slides/slide11.xml"/><Relationship Id="rId19" Type="http://schemas.openxmlformats.org/officeDocument/2006/relationships/slide" Target="slides/slide20.xml"/><Relationship Id="rId4" Type="http://schemas.openxmlformats.org/officeDocument/2006/relationships/slide" Target="slides/slide5.xml"/><Relationship Id="rId9" Type="http://schemas.openxmlformats.org/officeDocument/2006/relationships/slide" Target="slides/slide10.xml"/><Relationship Id="rId14" Type="http://schemas.openxmlformats.org/officeDocument/2006/relationships/slide" Target="slides/slide15.xml"/><Relationship Id="rId22" Type="http://schemas.openxmlformats.org/officeDocument/2006/relationships/slide" Target="slides/slide2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24.03.20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2581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>
                <a:effectLst/>
                <a:latin typeface="Segoe UI" panose="020B0502040204020203" pitchFamily="34" charset="0"/>
              </a:rPr>
              <a:t>EU-Bürger (+ Schweiz, Norwegen, Irland, Liechtenstein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unbefristete Aufenthaltserlaubnis (§ 7a AufenthG/EWG) oder Daueraufenthaltserlaubnis (§ 5 Abs. 5 </a:t>
            </a:r>
            <a:r>
              <a:rPr lang="de-DE" sz="1800" dirty="0" err="1">
                <a:effectLst/>
                <a:latin typeface="Segoe UI" panose="020B0502040204020203" pitchFamily="34" charset="0"/>
              </a:rPr>
              <a:t>FreizügG</a:t>
            </a:r>
            <a:r>
              <a:rPr lang="de-DE" sz="1800" dirty="0">
                <a:effectLst/>
                <a:latin typeface="Segoe UI" panose="020B0502040204020203" pitchFamily="34" charset="0"/>
              </a:rPr>
              <a:t>/EU).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als Arbeitnehmer freizügigkeitsberechtigt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verheiratet mit EU-Bürger (selbständig, arbeitssuchend, Ausbildung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ein Elternteil ist EU-Bürger (selbständig, arbeitssuchend, Ausbildung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Erwerbstätigkeit in Deutschland vor dem Studium (thematischer Bezug!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168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7504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4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644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|    Studienvorbereitungskurs 2023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9" r:id="rId4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5.jpeg"/><Relationship Id="rId18" Type="http://schemas.openxmlformats.org/officeDocument/2006/relationships/image" Target="../media/image10.png"/><Relationship Id="rId26" Type="http://schemas.openxmlformats.org/officeDocument/2006/relationships/image" Target="../media/image18.png"/><Relationship Id="rId3" Type="http://schemas.openxmlformats.org/officeDocument/2006/relationships/tags" Target="../tags/tag8.xml"/><Relationship Id="rId21" Type="http://schemas.openxmlformats.org/officeDocument/2006/relationships/image" Target="../media/image13.svg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9.svg"/><Relationship Id="rId25" Type="http://schemas.openxmlformats.org/officeDocument/2006/relationships/image" Target="../media/image17.svg"/><Relationship Id="rId2" Type="http://schemas.openxmlformats.org/officeDocument/2006/relationships/tags" Target="../tags/tag7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29" Type="http://schemas.openxmlformats.org/officeDocument/2006/relationships/image" Target="../media/image21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1.xml"/><Relationship Id="rId24" Type="http://schemas.openxmlformats.org/officeDocument/2006/relationships/image" Target="../media/image16.png"/><Relationship Id="rId5" Type="http://schemas.openxmlformats.org/officeDocument/2006/relationships/tags" Target="../tags/tag10.xml"/><Relationship Id="rId15" Type="http://schemas.openxmlformats.org/officeDocument/2006/relationships/image" Target="../media/image7.svg"/><Relationship Id="rId23" Type="http://schemas.openxmlformats.org/officeDocument/2006/relationships/image" Target="../media/image15.svg"/><Relationship Id="rId28" Type="http://schemas.openxmlformats.org/officeDocument/2006/relationships/image" Target="../media/image20.png"/><Relationship Id="rId10" Type="http://schemas.openxmlformats.org/officeDocument/2006/relationships/tags" Target="../tags/tag15.xml"/><Relationship Id="rId19" Type="http://schemas.openxmlformats.org/officeDocument/2006/relationships/image" Target="../media/image11.svg"/><Relationship Id="rId31" Type="http://schemas.openxmlformats.org/officeDocument/2006/relationships/image" Target="../media/image23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6.png"/><Relationship Id="rId22" Type="http://schemas.openxmlformats.org/officeDocument/2006/relationships/image" Target="../media/image14.png"/><Relationship Id="rId27" Type="http://schemas.openxmlformats.org/officeDocument/2006/relationships/image" Target="../media/image19.svg"/><Relationship Id="rId30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://www.faust-augsburg.de/" TargetMode="Externa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studierendenwerk-augsburg.de/sprechzeiten/" TargetMode="Externa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www.studierendenjobs.de/" TargetMode="Externa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://www.studierendenjobs.de/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jobmensa.de/studentenjobs/augsburg" TargetMode="External"/><Relationship Id="rId2" Type="http://schemas.openxmlformats.org/officeDocument/2006/relationships/hyperlink" Target="https://www.buhl-gps.de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i-augsburg.de/de/portal/internationals/abschluss/svk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hyperlink" Target="https://www.jobportal-augsburg.de/uacc/index.php" TargetMode="Externa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://www.uni-augsburg.de/de/organisation/einrichtungen/career-service/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uni-augsburg.de/de/organisation/einrichtungen/career-service/veranstaltungsubersicht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hyperlink" Target="https://www.uni-augsburg.de/en/portal/internationals/abschluss/study-preparation-course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mediendienst-integration.de/integration/hochschule.html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www.uni-augsburg.de/de/studium/studieren-augsburg/stipendien/das-deutschlandstipendium/" TargetMode="Externa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egabungslotse.de/themen/stipendium" TargetMode="External"/><Relationship Id="rId2" Type="http://schemas.openxmlformats.org/officeDocument/2006/relationships/hyperlink" Target="http://www.stipendiumplus.de/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daad.de/deutschland/stipendium/de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ierendenwerk-augsburg.de/bafoeg-finanzierung/bafoeg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png"/><Relationship Id="rId4" Type="http://schemas.openxmlformats.org/officeDocument/2006/relationships/hyperlink" Target="https://www.mystipendium.de/bafoeg/bafoeg-fuer-auslaend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platzhalter 21">
            <a:extLst>
              <a:ext uri="{FF2B5EF4-FFF2-40B4-BE49-F238E27FC236}">
                <a16:creationId xmlns:a16="http://schemas.microsoft.com/office/drawing/2014/main" id="{8E9AA76E-8ADD-6D4A-91B2-4B2D0F33372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0" name="Titel 29">
            <a:extLst>
              <a:ext uri="{FF2B5EF4-FFF2-40B4-BE49-F238E27FC236}">
                <a16:creationId xmlns:a16="http://schemas.microsoft.com/office/drawing/2014/main" id="{ED093444-DE53-4E37-8555-A53A8282CB8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tudienfinanzierung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Logo_Basis_neg.">
            <a:extLst>
              <a:ext uri="{FF2B5EF4-FFF2-40B4-BE49-F238E27FC236}">
                <a16:creationId xmlns:a16="http://schemas.microsoft.com/office/drawing/2014/main" id="{7D80C419-C297-436A-A6B3-A4816AB10A2D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6" name="Logo_FAI_neg." hidden="1">
            <a:extLst>
              <a:ext uri="{FF2B5EF4-FFF2-40B4-BE49-F238E27FC236}">
                <a16:creationId xmlns:a16="http://schemas.microsoft.com/office/drawing/2014/main" id="{6FF63114-56C5-42BD-A30E-4A8A041D963B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8" name="Logo_JUF_neg." hidden="1">
            <a:extLst>
              <a:ext uri="{FF2B5EF4-FFF2-40B4-BE49-F238E27FC236}">
                <a16:creationId xmlns:a16="http://schemas.microsoft.com/office/drawing/2014/main" id="{12D01AA4-A110-4EED-BDC2-48CD85A18965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0" name="Logo_KTF_neg." hidden="1">
            <a:extLst>
              <a:ext uri="{FF2B5EF4-FFF2-40B4-BE49-F238E27FC236}">
                <a16:creationId xmlns:a16="http://schemas.microsoft.com/office/drawing/2014/main" id="{C236EC7F-8ECB-417A-8C4D-1249D14DDA21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2" name="Logo_MEF_neg." hidden="1">
            <a:extLst>
              <a:ext uri="{FF2B5EF4-FFF2-40B4-BE49-F238E27FC236}">
                <a16:creationId xmlns:a16="http://schemas.microsoft.com/office/drawing/2014/main" id="{8E1EEB64-B530-4DC3-9522-19F88C657C62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4" name="Logo_MNTF_neg." hidden="1">
            <a:extLst>
              <a:ext uri="{FF2B5EF4-FFF2-40B4-BE49-F238E27FC236}">
                <a16:creationId xmlns:a16="http://schemas.microsoft.com/office/drawing/2014/main" id="{B6B5FE23-7140-4471-AB48-4BE26E31E0D9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PHF_neg." hidden="1">
            <a:extLst>
              <a:ext uri="{FF2B5EF4-FFF2-40B4-BE49-F238E27FC236}">
                <a16:creationId xmlns:a16="http://schemas.microsoft.com/office/drawing/2014/main" id="{A4780CB1-6931-49F3-9616-C13A7B14B653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PSF_neg." hidden="1">
            <a:extLst>
              <a:ext uri="{FF2B5EF4-FFF2-40B4-BE49-F238E27FC236}">
                <a16:creationId xmlns:a16="http://schemas.microsoft.com/office/drawing/2014/main" id="{FDDB11E7-6BF4-4E4A-BC05-ED11864FC682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WWF_neg." hidden="1">
            <a:extLst>
              <a:ext uri="{FF2B5EF4-FFF2-40B4-BE49-F238E27FC236}">
                <a16:creationId xmlns:a16="http://schemas.microsoft.com/office/drawing/2014/main" id="{5EA5973E-3F3A-451F-A766-CB39013D77D4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655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Unterstützung in Notlagen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b="1" dirty="0">
                <a:solidFill>
                  <a:srgbClr val="AD007C"/>
                </a:solidFill>
              </a:rPr>
              <a:t>f.au.st e.V.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</a:rPr>
              <a:t>kann schnell helfen oder Hilfe vermitteln, wenn begabte ausländische Studentinnen und Studenten aus ärmeren Herkunftsländern finanzielle Hilfe benötigen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altLang="de-DE" sz="2000" dirty="0">
                <a:solidFill>
                  <a:schemeClr val="tx1"/>
                </a:solidFill>
              </a:rPr>
              <a:t>Stipendien (wenige)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altLang="de-DE" sz="2000" dirty="0">
                <a:solidFill>
                  <a:schemeClr val="tx1"/>
                </a:solidFill>
              </a:rPr>
              <a:t>Studienbeihilfen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altLang="de-DE" dirty="0">
                <a:solidFill>
                  <a:schemeClr val="tx1"/>
                </a:solidFill>
              </a:rPr>
              <a:t>vor allem </a:t>
            </a:r>
            <a:r>
              <a:rPr lang="de-DE" altLang="de-DE" sz="2000" dirty="0">
                <a:solidFill>
                  <a:schemeClr val="tx1"/>
                </a:solidFill>
              </a:rPr>
              <a:t>Darlehen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accent5">
                    <a:lumMod val="50000"/>
                  </a:schemeClr>
                </a:solidFill>
                <a:hlinkClick r:id="rId2"/>
              </a:rPr>
              <a:t>www.faust-augsburg.de</a:t>
            </a:r>
            <a:endParaRPr lang="de-DE" altLang="de-DE" sz="2000" dirty="0">
              <a:solidFill>
                <a:schemeClr val="accent5">
                  <a:lumMod val="50000"/>
                </a:schemeClr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95140A4-A90D-4465-A0C2-AEE6CFC93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3131" y="2946230"/>
            <a:ext cx="2371550" cy="176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221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tudierendenjobs – rechtliche Grundlagen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Nicht-EU-Bürger (Aufenthalt nach §16b) dürfen </a:t>
            </a:r>
            <a:r>
              <a:rPr lang="de-DE" altLang="de-DE" dirty="0">
                <a:solidFill>
                  <a:schemeClr val="tx1"/>
                </a:solidFill>
              </a:rPr>
              <a:t>seit Juni 2024</a:t>
            </a:r>
            <a:r>
              <a:rPr lang="de-DE" altLang="de-DE" sz="2000" dirty="0">
                <a:solidFill>
                  <a:schemeClr val="tx1"/>
                </a:solidFill>
              </a:rPr>
              <a:t> </a:t>
            </a:r>
            <a:r>
              <a:rPr lang="de-DE" altLang="de-DE" sz="2000" dirty="0">
                <a:solidFill>
                  <a:srgbClr val="AD007C"/>
                </a:solidFill>
              </a:rPr>
              <a:t>140 volle/ 280 halbe Tage pro Jahr/ 20 Stunden pro Woche (!!) </a:t>
            </a:r>
            <a:r>
              <a:rPr lang="de-DE" altLang="de-DE" sz="2000" dirty="0">
                <a:solidFill>
                  <a:schemeClr val="tx1"/>
                </a:solidFill>
              </a:rPr>
              <a:t>arbeiten.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</a:rPr>
              <a:t>ab mehr als </a:t>
            </a:r>
            <a:r>
              <a:rPr lang="de-DE" altLang="de-DE" sz="2000" dirty="0">
                <a:solidFill>
                  <a:srgbClr val="AD007C"/>
                </a:solidFill>
              </a:rPr>
              <a:t>20 Wochenstunden oder einem </a:t>
            </a:r>
            <a:r>
              <a:rPr lang="de-DE" altLang="de-DE" sz="2000" u="sng" dirty="0">
                <a:solidFill>
                  <a:srgbClr val="AD007C"/>
                </a:solidFill>
              </a:rPr>
              <a:t>regelmäßigen</a:t>
            </a:r>
            <a:r>
              <a:rPr lang="de-DE" altLang="de-DE" sz="2000" dirty="0">
                <a:solidFill>
                  <a:srgbClr val="AD007C"/>
                </a:solidFill>
              </a:rPr>
              <a:t> Einkommen von über </a:t>
            </a:r>
            <a:r>
              <a:rPr lang="de-DE" dirty="0"/>
              <a:t>603</a:t>
            </a:r>
            <a:r>
              <a:rPr lang="de-DE" altLang="de-DE" sz="2000" dirty="0">
                <a:solidFill>
                  <a:srgbClr val="AD007C"/>
                </a:solidFill>
              </a:rPr>
              <a:t> Euro </a:t>
            </a:r>
            <a:r>
              <a:rPr lang="de-DE" altLang="de-DE" sz="2000" dirty="0">
                <a:solidFill>
                  <a:schemeClr val="tx1"/>
                </a:solidFill>
              </a:rPr>
              <a:t>ist das „Erscheinungsbild Student“ nicht mehr gegeben. Es drohen ggf. Probleme mit der Studentischen Krankenversicherung. 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altLang="de-DE" sz="2000" dirty="0">
                <a:solidFill>
                  <a:schemeClr val="tx1"/>
                </a:solidFill>
              </a:rPr>
              <a:t>EU-Studierende, die in Deutschland arbeiten, benötigen eine deutsche Krankenversicherung (EHIC-Card gilt dann nicht mehr)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Beratung bei Fragen: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2000" dirty="0" err="1">
                <a:solidFill>
                  <a:schemeClr val="tx1"/>
                </a:solidFill>
                <a:sym typeface="Wingdings" panose="05000000000000000000" pitchFamily="2" charset="2"/>
              </a:rPr>
              <a:t>b!st</a:t>
            </a: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 – Studentenwerk, 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  <a:hlinkClick r:id="rId2"/>
              </a:rPr>
              <a:t>https://studierendenwerk-augsburg.de/sprechzeiten/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eigene Krankenversicherung fragen </a:t>
            </a:r>
            <a:endParaRPr lang="de-DE" altLang="de-DE" sz="2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7042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Hiwi-Stellen an der Universität 1/2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rgbClr val="AD007C"/>
                </a:solidFill>
              </a:rPr>
              <a:t>Hiwi</a:t>
            </a:r>
            <a:r>
              <a:rPr lang="de-DE" altLang="de-DE" sz="2000" dirty="0">
                <a:solidFill>
                  <a:schemeClr val="tx1"/>
                </a:solidFill>
              </a:rPr>
              <a:t> = </a:t>
            </a:r>
            <a:r>
              <a:rPr lang="de-DE" altLang="de-DE" dirty="0">
                <a:solidFill>
                  <a:schemeClr val="tx1"/>
                </a:solidFill>
              </a:rPr>
              <a:t>[</a:t>
            </a:r>
            <a:r>
              <a:rPr lang="de-DE" altLang="de-DE" i="1" dirty="0">
                <a:solidFill>
                  <a:schemeClr val="tx1"/>
                </a:solidFill>
              </a:rPr>
              <a:t>Umgangssprache</a:t>
            </a:r>
            <a:r>
              <a:rPr lang="de-DE" altLang="de-DE" dirty="0">
                <a:solidFill>
                  <a:schemeClr val="tx1"/>
                </a:solidFill>
              </a:rPr>
              <a:t>] </a:t>
            </a:r>
            <a:r>
              <a:rPr lang="de-DE" altLang="de-DE" sz="2000" dirty="0">
                <a:solidFill>
                  <a:srgbClr val="AD007C"/>
                </a:solidFill>
              </a:rPr>
              <a:t>Hi</a:t>
            </a:r>
            <a:r>
              <a:rPr lang="de-DE" altLang="de-DE" sz="2000" dirty="0">
                <a:solidFill>
                  <a:schemeClr val="tx1"/>
                </a:solidFill>
              </a:rPr>
              <a:t>lfs</a:t>
            </a:r>
            <a:r>
              <a:rPr lang="de-DE" altLang="de-DE" sz="2000" dirty="0">
                <a:solidFill>
                  <a:srgbClr val="AD007C"/>
                </a:solidFill>
              </a:rPr>
              <a:t>wi</a:t>
            </a:r>
            <a:r>
              <a:rPr lang="de-DE" altLang="de-DE" sz="2000" dirty="0">
                <a:solidFill>
                  <a:schemeClr val="tx1"/>
                </a:solidFill>
              </a:rPr>
              <a:t>ssenschaftler*in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</a:rPr>
              <a:t>Oberbegriff für </a:t>
            </a:r>
            <a:r>
              <a:rPr lang="de-DE" altLang="de-DE" sz="2000" i="1" dirty="0">
                <a:solidFill>
                  <a:schemeClr val="tx1"/>
                </a:solidFill>
              </a:rPr>
              <a:t>Studentische</a:t>
            </a:r>
            <a:r>
              <a:rPr lang="de-DE" altLang="de-DE" sz="2000" dirty="0">
                <a:solidFill>
                  <a:schemeClr val="tx1"/>
                </a:solidFill>
              </a:rPr>
              <a:t> bzw. </a:t>
            </a:r>
            <a:r>
              <a:rPr lang="de-DE" altLang="de-DE" sz="2000" i="1" dirty="0">
                <a:solidFill>
                  <a:schemeClr val="tx1"/>
                </a:solidFill>
              </a:rPr>
              <a:t>Wissenschaftliche</a:t>
            </a:r>
            <a:r>
              <a:rPr lang="de-DE" altLang="de-DE" sz="2000" dirty="0">
                <a:solidFill>
                  <a:schemeClr val="tx1"/>
                </a:solidFill>
              </a:rPr>
              <a:t> Hilfskraft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Bezeichnung für Studierende, die an einem Lehrstuhl/ für einen Professor/ ein Projekt oder eine andere Einrichtung einer Hochschule angestellt sind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rgbClr val="AD007C"/>
                </a:solidFill>
              </a:rPr>
              <a:t>Studentische Hilfskraft (SHK) </a:t>
            </a:r>
            <a:r>
              <a:rPr lang="de-DE" altLang="de-DE" sz="2000" dirty="0">
                <a:solidFill>
                  <a:schemeClr val="tx1"/>
                </a:solidFill>
              </a:rPr>
              <a:t>– noch kein Studienabschluss, 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</a:rPr>
              <a:t>Verdienst: 14,00 €/h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rgbClr val="AD007C"/>
                </a:solidFill>
              </a:rPr>
              <a:t>Wissenschaftliche Hilfskraft (WHK) </a:t>
            </a:r>
            <a:r>
              <a:rPr lang="de-DE" altLang="de-DE" sz="2000" dirty="0">
                <a:solidFill>
                  <a:schemeClr val="tx1"/>
                </a:solidFill>
              </a:rPr>
              <a:t>–  mit (Bachelor-)Abschluss, Verdienst: </a:t>
            </a:r>
            <a:r>
              <a:rPr lang="de-DE" altLang="de-DE" dirty="0">
                <a:solidFill>
                  <a:schemeClr val="tx1"/>
                </a:solidFill>
              </a:rPr>
              <a:t>16,00</a:t>
            </a:r>
            <a:r>
              <a:rPr lang="de-DE" altLang="de-DE" sz="2000" dirty="0">
                <a:solidFill>
                  <a:schemeClr val="tx1"/>
                </a:solidFill>
              </a:rPr>
              <a:t> €/h 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</a:rPr>
              <a:t>maximale Arbeitszeit als Hiwi 86 Stunden/ Monat </a:t>
            </a: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zählt nicht zu den 140 Tagen, die Nicht-EU-Studierende arbeiten dürfen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5724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Hiwi-Stellen an der Universität 2/2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rgbClr val="AD007C"/>
                </a:solidFill>
              </a:rPr>
              <a:t>Wo findet man Hiwi-Stellen?</a:t>
            </a:r>
            <a:b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</a:br>
            <a:endParaRPr lang="de-DE" altLang="de-DE" sz="2000" dirty="0">
              <a:solidFill>
                <a:schemeClr val="tx1"/>
              </a:solidFill>
              <a:sym typeface="Wingdings" pitchFamily="2" charset="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- Studierendenwerk: </a:t>
            </a: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  <a:hlinkClick r:id="rId2"/>
              </a:rPr>
              <a:t>https://www.studierendenjobs.de/</a:t>
            </a:r>
            <a:endParaRPr lang="de-DE" altLang="de-DE" sz="2000" dirty="0">
              <a:solidFill>
                <a:schemeClr val="tx1"/>
              </a:solidFill>
              <a:sym typeface="Wingdings" pitchFamily="2" charset="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dirty="0">
                <a:solidFill>
                  <a:schemeClr val="tx1"/>
                </a:solidFill>
                <a:sym typeface="Wingdings" pitchFamily="2" charset="2"/>
              </a:rPr>
              <a:t>- </a:t>
            </a:r>
            <a:r>
              <a:rPr lang="de-DE" altLang="de-DE" dirty="0" err="1">
                <a:solidFill>
                  <a:schemeClr val="tx1"/>
                </a:solidFill>
                <a:sym typeface="Wingdings" pitchFamily="2" charset="2"/>
              </a:rPr>
              <a:t>Digicampus</a:t>
            </a:r>
            <a:r>
              <a:rPr lang="de-DE" altLang="de-DE" dirty="0">
                <a:solidFill>
                  <a:schemeClr val="tx1"/>
                </a:solidFill>
                <a:sym typeface="Wingdings" pitchFamily="2" charset="2"/>
              </a:rPr>
              <a:t> „Jobbörse“ (Hiwi-Jobbörse und „externe“ Jobs)</a:t>
            </a:r>
            <a:b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</a:br>
            <a:endParaRPr lang="de-DE" altLang="de-DE" sz="2000" dirty="0">
              <a:solidFill>
                <a:schemeClr val="tx1"/>
              </a:solidFill>
              <a:sym typeface="Wingdings" pitchFamily="2" charset="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- Lehrstühle</a:t>
            </a:r>
            <a:r>
              <a:rPr lang="de-DE" altLang="de-DE" dirty="0">
                <a:solidFill>
                  <a:schemeClr val="tx1"/>
                </a:solidFill>
                <a:sym typeface="Wingdings" pitchFamily="2" charset="2"/>
              </a:rPr>
              <a:t>: in der Nähe der Sekretariate (Aushänge an Info-Wänden) &amp; Homepage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lang="de-DE" altLang="de-DE" dirty="0">
              <a:solidFill>
                <a:schemeClr val="tx1"/>
              </a:solidFill>
              <a:sym typeface="Wingdings" pitchFamily="2" charset="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- „</a:t>
            </a:r>
            <a:r>
              <a:rPr lang="de-DE" altLang="de-DE" dirty="0">
                <a:solidFill>
                  <a:schemeClr val="tx1"/>
                </a:solidFill>
                <a:sym typeface="Wingdings" pitchFamily="2" charset="2"/>
              </a:rPr>
              <a:t>S</a:t>
            </a: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chwarze Bretter“ (Zettel und Plakate) überall auf dem Campu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b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- </a:t>
            </a:r>
            <a:r>
              <a:rPr lang="de-DE" altLang="de-DE" sz="2000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Auslandsamt (oder andere Einrichtungen)</a:t>
            </a:r>
            <a:br>
              <a:rPr lang="de-DE" altLang="de-DE" sz="20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Aushänge, AAA-</a:t>
            </a:r>
            <a:r>
              <a:rPr lang="de-DE" altLang="de-DE" sz="2000" dirty="0" err="1">
                <a:solidFill>
                  <a:schemeClr val="tx1"/>
                </a:solidFill>
                <a:sym typeface="Wingdings" panose="05000000000000000000" pitchFamily="2" charset="2"/>
              </a:rPr>
              <a:t>InfoMail</a:t>
            </a: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, Homepage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i="1" dirty="0">
                <a:solidFill>
                  <a:schemeClr val="tx1"/>
                </a:solidFill>
              </a:rPr>
            </a:br>
            <a:r>
              <a:rPr lang="de-DE" altLang="de-DE" sz="2000" i="1" dirty="0">
                <a:solidFill>
                  <a:schemeClr val="tx1"/>
                </a:solidFill>
              </a:rPr>
              <a:t>- </a:t>
            </a:r>
            <a:r>
              <a:rPr lang="de-DE" altLang="de-DE" sz="2000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Bibliothek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11D5A94-152C-4BCC-B264-2475E58C2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1254" y="3592092"/>
            <a:ext cx="1871634" cy="1871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632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tudierendenwerk: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www.studierendenjobs.d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5F2BDA8-1D62-462A-C1A1-C86479B9BB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6167" y="199525"/>
            <a:ext cx="2734057" cy="762106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B4F11FD-6017-0411-3490-E4A57E6ECD1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8524" t="9474" r="15716" b="6035"/>
          <a:stretch>
            <a:fillRect/>
          </a:stretch>
        </p:blipFill>
        <p:spPr>
          <a:xfrm>
            <a:off x="3716030" y="1235026"/>
            <a:ext cx="4759940" cy="549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2910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Zeitarbeitsfirmen in Augsburg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BUHL Gastronomie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2"/>
              </a:rPr>
              <a:t>https://www.buhl-gps.de/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Jobmensa</a:t>
            </a:r>
            <a:endParaRPr kumimoji="0" lang="de-DE" altLang="de-DE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3"/>
              </a:rPr>
              <a:t>http://www.jobmensa.de/</a:t>
            </a:r>
            <a:b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3"/>
              </a:rPr>
            </a:br>
            <a:r>
              <a:rPr kumimoji="0" lang="de-DE" alt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3"/>
              </a:rPr>
              <a:t>studentenjobs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3"/>
              </a:rPr>
              <a:t>/augsburg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935125A-E7AB-2275-031E-A9794AA7AD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4592" y="1243493"/>
            <a:ext cx="2105319" cy="117173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2EE9303-4E2B-326D-0A1D-4E0AA7EE4D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3677" y="206434"/>
            <a:ext cx="4868323" cy="384083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34D2049-D66D-844D-BB4B-8E27481B76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2114" y="3540485"/>
            <a:ext cx="3475951" cy="3011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0193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46BA02B-7500-85BE-AF0F-D9783335BE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400" y="1306828"/>
            <a:ext cx="10371221" cy="478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1960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5A41B16-9717-CFA2-2938-A9D7E3882A5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156" t="19766" r="15936" b="17427"/>
          <a:stretch>
            <a:fillRect/>
          </a:stretch>
        </p:blipFill>
        <p:spPr>
          <a:xfrm>
            <a:off x="2370220" y="1515980"/>
            <a:ext cx="7451559" cy="430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0247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3023FBE-0C7C-3C6D-C260-BB8BC0EC7AB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177" t="11496" r="15914" b="17510"/>
          <a:stretch>
            <a:fillRect/>
          </a:stretch>
        </p:blipFill>
        <p:spPr>
          <a:xfrm>
            <a:off x="2370220" y="1411704"/>
            <a:ext cx="7451559" cy="4868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5035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4A745E6-E3CA-3298-0AC8-6AF36CA00F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228" t="10468" r="16228" b="17573"/>
          <a:stretch>
            <a:fillRect/>
          </a:stretch>
        </p:blipFill>
        <p:spPr>
          <a:xfrm>
            <a:off x="2390274" y="1392268"/>
            <a:ext cx="7411452" cy="4934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47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1926145" cy="6858000"/>
          </a:xfrm>
          <a:custGeom>
            <a:avLst/>
            <a:gdLst/>
            <a:ahLst/>
            <a:cxnLst/>
            <a:rect l="l" t="t" r="r" b="b"/>
            <a:pathLst>
              <a:path w="17889217" h="10062684">
                <a:moveTo>
                  <a:pt x="0" y="0"/>
                </a:moveTo>
                <a:lnTo>
                  <a:pt x="17889217" y="0"/>
                </a:lnTo>
                <a:lnTo>
                  <a:pt x="17889217" y="10062684"/>
                </a:lnTo>
                <a:lnTo>
                  <a:pt x="0" y="1006268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3" name="TextBox 3"/>
          <p:cNvSpPr txBox="1"/>
          <p:nvPr/>
        </p:nvSpPr>
        <p:spPr>
          <a:xfrm>
            <a:off x="685800" y="2839055"/>
            <a:ext cx="11123023" cy="31180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800"/>
              </a:lnSpc>
              <a:spcBef>
                <a:spcPct val="0"/>
              </a:spcBef>
            </a:pPr>
            <a:endParaRPr sz="1200" dirty="0"/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Diese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Präsentation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st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die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echste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von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nsgesamt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ieben</a:t>
            </a:r>
            <a:r>
              <a:rPr lang="en-US" sz="2233" dirty="0">
                <a:solidFill>
                  <a:srgbClr val="A3017C"/>
                </a:solidFill>
                <a:latin typeface="Canva Sans"/>
                <a:ea typeface="Canva Sans"/>
                <a:cs typeface="Canva Sans"/>
                <a:sym typeface="Canva Sans"/>
              </a:rPr>
              <a:t>.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Sie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beschäftig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ich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mi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der </a:t>
            </a:r>
            <a:r>
              <a:rPr lang="en-US" sz="22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tudienfinanzierung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Wir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mpfehl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, alle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orgfältig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durchzuseh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, um gut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vorbereite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in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hr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Studium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tart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nd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ichtig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Frag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klär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</a:t>
            </a:r>
          </a:p>
          <a:p>
            <a:pPr algn="just">
              <a:lnSpc>
                <a:spcPts val="3127"/>
              </a:lnSpc>
              <a:spcBef>
                <a:spcPct val="0"/>
              </a:spcBef>
            </a:pPr>
            <a:endParaRPr lang="en-US" sz="2233" dirty="0">
              <a:solidFill>
                <a:srgbClr val="000000"/>
              </a:solidFill>
              <a:latin typeface="Canva Sans"/>
              <a:ea typeface="Canva Sans"/>
              <a:cs typeface="Canva Sans"/>
              <a:sym typeface="Canva Sans"/>
            </a:endParaRPr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lle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ind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online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verfügbar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nd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könn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unter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folgendem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Link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heruntergelad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erd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: </a:t>
            </a:r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u="sng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  <a:hlinkClick r:id="rId3" tooltip="https://www.uni-augsburg.de/de/portal/internationals/abschluss/svk/"/>
              </a:rPr>
              <a:t>https://www.uni-augsburg.de/de/portal/internationals/abschluss/svk/</a:t>
            </a:r>
          </a:p>
        </p:txBody>
      </p:sp>
      <p:sp>
        <p:nvSpPr>
          <p:cNvPr id="4" name="Freeform 4"/>
          <p:cNvSpPr/>
          <p:nvPr/>
        </p:nvSpPr>
        <p:spPr>
          <a:xfrm>
            <a:off x="9842763" y="1359068"/>
            <a:ext cx="1557739" cy="1518087"/>
          </a:xfrm>
          <a:custGeom>
            <a:avLst/>
            <a:gdLst/>
            <a:ahLst/>
            <a:cxnLst/>
            <a:rect l="l" t="t" r="r" b="b"/>
            <a:pathLst>
              <a:path w="2336608" h="2277131">
                <a:moveTo>
                  <a:pt x="0" y="0"/>
                </a:moveTo>
                <a:lnTo>
                  <a:pt x="2336608" y="0"/>
                </a:lnTo>
                <a:lnTo>
                  <a:pt x="2336608" y="2277131"/>
                </a:lnTo>
                <a:lnTo>
                  <a:pt x="0" y="227713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5" name="TextBox 5"/>
          <p:cNvSpPr txBox="1"/>
          <p:nvPr/>
        </p:nvSpPr>
        <p:spPr>
          <a:xfrm>
            <a:off x="265855" y="399995"/>
            <a:ext cx="8027913" cy="5292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386"/>
              </a:lnSpc>
              <a:spcBef>
                <a:spcPct val="0"/>
              </a:spcBef>
            </a:pP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Wichtige</a:t>
            </a: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nformationen</a:t>
            </a: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zum</a:t>
            </a: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tudienbeginn</a:t>
            </a:r>
            <a:endParaRPr lang="en-US" sz="3133" b="1" dirty="0">
              <a:solidFill>
                <a:srgbClr val="A3017C"/>
              </a:solidFill>
              <a:latin typeface="Canva Sans Bold"/>
              <a:ea typeface="Canva Sans Bold"/>
              <a:cs typeface="Canva Sans Bold"/>
              <a:sym typeface="Canva Sans Bold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685800" y="1314617"/>
            <a:ext cx="8504849" cy="15559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125"/>
              </a:lnSpc>
              <a:spcBef>
                <a:spcPct val="0"/>
              </a:spcBef>
            </a:pP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Das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kademisch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uslandsam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r Universität Augsburg hat für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nternational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rstsemester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in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sreihe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mi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n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ichtigst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nformationen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rund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m das Studium und Leben in Augsburg </a:t>
            </a:r>
            <a:r>
              <a:rPr lang="en-US" sz="2233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sammengestellt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20694E-0F34-E4B0-014A-77C1EE3803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8AE2C6AC-29B7-5469-2982-2432AC26C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A202F18-0334-94FE-D5FA-ADA4FEFAF15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002" t="10468" r="15870" b="17848"/>
          <a:stretch>
            <a:fillRect/>
          </a:stretch>
        </p:blipFill>
        <p:spPr>
          <a:xfrm>
            <a:off x="2358188" y="1409715"/>
            <a:ext cx="7475623" cy="4916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6315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A8423-3182-8F7E-1320-B91CC6F222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B9D164EA-35F9-D537-0175-BA235B729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4C36AB1-0FF8-08F4-9966-68B1AC5F380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023" t="13240" r="16214" b="17696"/>
          <a:stretch>
            <a:fillRect/>
          </a:stretch>
        </p:blipFill>
        <p:spPr>
          <a:xfrm>
            <a:off x="2378241" y="1527979"/>
            <a:ext cx="7435517" cy="4736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5206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66237-C3D7-D8C9-F935-829BB545C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A266F3AF-F1E4-ACF6-7CF6-80A4A259D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2044231-BCD8-46FB-F32E-F74A9DFC417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0" t="10624" r="14999" b="16329"/>
          <a:stretch>
            <a:fillRect/>
          </a:stretch>
        </p:blipFill>
        <p:spPr>
          <a:xfrm>
            <a:off x="2302042" y="1225641"/>
            <a:ext cx="7587916" cy="500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0977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Jobportal Uni Augsburg: Praktikum &amp; Berufseinstieg, </a:t>
            </a:r>
            <a:r>
              <a:rPr lang="de-DE" u="sng" dirty="0">
                <a:latin typeface="Calibri" panose="020F0502020204030204" pitchFamily="34" charset="0"/>
                <a:cs typeface="Calibri" panose="020F0502020204030204" pitchFamily="34" charset="0"/>
              </a:rPr>
              <a:t>deutschland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weit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2"/>
              </a:rPr>
              <a:t>https://www.jobportal-augsburg.de/uacc/index.php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1CD3AA8-86C4-AD7D-14E4-938709400D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6267" y="1831613"/>
            <a:ext cx="9082146" cy="459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480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Career Service der Universität Augsburg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7657434" cy="3402451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2"/>
              </a:rPr>
              <a:t>www.uni-augsburg.de/de/organisation/einrichtungen/</a:t>
            </a:r>
            <a:b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2"/>
              </a:rPr>
            </a:br>
            <a:r>
              <a:rPr kumimoji="0" lang="de-DE" alt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2"/>
              </a:rPr>
              <a:t>career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2"/>
              </a:rPr>
              <a:t>-service/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E2A139F-A34F-4F02-8CE0-EC381428DC94}"/>
              </a:ext>
            </a:extLst>
          </p:cNvPr>
          <p:cNvSpPr txBox="1"/>
          <p:nvPr/>
        </p:nvSpPr>
        <p:spPr>
          <a:xfrm>
            <a:off x="719400" y="2344885"/>
            <a:ext cx="4430116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dirty="0"/>
              <a:t>Angebote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Exkursionen zu Unternehmen vor 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Soft-Skill-Kur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BWL für Geisteswissenschaftl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Bewerbungswissen kompak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Gruppenberat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Beratung Bewerbungsunterla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Training Vorstellungsgespräch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B682C9-3535-C5AF-BB45-05F17051B45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2456" t="9825" r="16593" b="4327"/>
          <a:stretch>
            <a:fillRect/>
          </a:stretch>
        </p:blipFill>
        <p:spPr>
          <a:xfrm>
            <a:off x="6673516" y="441272"/>
            <a:ext cx="5176074" cy="545084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6A4A1AC-6F79-8EA2-1D28-07361FF5F66E}"/>
              </a:ext>
            </a:extLst>
          </p:cNvPr>
          <p:cNvSpPr txBox="1"/>
          <p:nvPr/>
        </p:nvSpPr>
        <p:spPr>
          <a:xfrm>
            <a:off x="6913348" y="6070479"/>
            <a:ext cx="4559252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300" dirty="0">
                <a:sym typeface="Wingdings" panose="05000000000000000000" pitchFamily="2" charset="2"/>
              </a:rPr>
              <a:t> </a:t>
            </a:r>
            <a:r>
              <a:rPr lang="de-DE" sz="1300" dirty="0">
                <a:hlinkClick r:id="rId4"/>
              </a:rPr>
              <a:t>https://www.uni-augsburg.de/de/organisation/einrichtungen/career-service/veranstaltungsubersicht/</a:t>
            </a:r>
            <a:r>
              <a:rPr lang="de-DE" sz="13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70149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1926145" cy="6858000"/>
          </a:xfrm>
          <a:custGeom>
            <a:avLst/>
            <a:gdLst/>
            <a:ahLst/>
            <a:cxnLst/>
            <a:rect l="l" t="t" r="r" b="b"/>
            <a:pathLst>
              <a:path w="17889217" h="10062684">
                <a:moveTo>
                  <a:pt x="0" y="0"/>
                </a:moveTo>
                <a:lnTo>
                  <a:pt x="17889217" y="0"/>
                </a:lnTo>
                <a:lnTo>
                  <a:pt x="17889217" y="10062684"/>
                </a:lnTo>
                <a:lnTo>
                  <a:pt x="0" y="1006268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3" name="TextBox 3"/>
          <p:cNvSpPr txBox="1"/>
          <p:nvPr/>
        </p:nvSpPr>
        <p:spPr>
          <a:xfrm>
            <a:off x="685800" y="3033576"/>
            <a:ext cx="10820400" cy="18494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2613"/>
              </a:lnSpc>
              <a:spcBef>
                <a:spcPct val="0"/>
              </a:spcBef>
            </a:pPr>
            <a:endParaRPr sz="1200" dirty="0"/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Diese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Präsentation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st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die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echste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von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nsgesamt</a:t>
            </a: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166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sieben</a:t>
            </a:r>
            <a:r>
              <a:rPr lang="en-US" sz="2166" dirty="0">
                <a:solidFill>
                  <a:srgbClr val="A3017C"/>
                </a:solidFill>
                <a:latin typeface="Canva Sans"/>
                <a:ea typeface="Canva Sans"/>
                <a:cs typeface="Canva Sans"/>
                <a:sym typeface="Canva Sans"/>
              </a:rPr>
              <a:t>.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Wir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mpfehl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, alle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orgfältig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durchzuseh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, um gut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vorbereitet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in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hr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Studium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tart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nd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ichtig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Frag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klär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: </a:t>
            </a:r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 u="sng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  <a:hlinkClick r:id="rId4" tooltip="https://www.uni-augsburg.de/en/portal/internationals/abschluss/study-preparation-course/"/>
              </a:rPr>
              <a:t>https://www.uni-augsburg.de/de/portal/internationals/abschluss/svk/.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</a:p>
        </p:txBody>
      </p:sp>
      <p:sp>
        <p:nvSpPr>
          <p:cNvPr id="4" name="Freeform 4"/>
          <p:cNvSpPr/>
          <p:nvPr/>
        </p:nvSpPr>
        <p:spPr>
          <a:xfrm>
            <a:off x="10060948" y="1334515"/>
            <a:ext cx="1557739" cy="1518087"/>
          </a:xfrm>
          <a:custGeom>
            <a:avLst/>
            <a:gdLst/>
            <a:ahLst/>
            <a:cxnLst/>
            <a:rect l="l" t="t" r="r" b="b"/>
            <a:pathLst>
              <a:path w="2336608" h="2277131">
                <a:moveTo>
                  <a:pt x="0" y="0"/>
                </a:moveTo>
                <a:lnTo>
                  <a:pt x="2336608" y="0"/>
                </a:lnTo>
                <a:lnTo>
                  <a:pt x="2336608" y="2277131"/>
                </a:lnTo>
                <a:lnTo>
                  <a:pt x="0" y="227713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5" name="TextBox 5"/>
          <p:cNvSpPr txBox="1"/>
          <p:nvPr/>
        </p:nvSpPr>
        <p:spPr>
          <a:xfrm>
            <a:off x="685801" y="392218"/>
            <a:ext cx="2666999" cy="5292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386"/>
              </a:lnSpc>
              <a:spcBef>
                <a:spcPct val="0"/>
              </a:spcBef>
            </a:pP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Noch </a:t>
            </a:r>
            <a:r>
              <a:rPr lang="en-US" sz="3133" b="1" dirty="0" err="1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Fragen</a:t>
            </a: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?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685800" y="1314618"/>
            <a:ext cx="8800755" cy="15059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2"/>
              </a:lnSpc>
              <a:spcBef>
                <a:spcPct val="0"/>
              </a:spcBef>
            </a:pP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Das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kademisch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uslandsamt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r Universität Augsburg hat für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nternational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rstsemester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ein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Präsentationsreihe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mit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den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ichtigst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nformationen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rund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 um das Studium und Leben in Augsburg </a:t>
            </a:r>
            <a:r>
              <a:rPr lang="en-US" sz="2166" dirty="0" err="1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zusammengestellt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685800" y="5073832"/>
            <a:ext cx="10820400" cy="15059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3"/>
              </a:lnSpc>
            </a:pPr>
            <a:endParaRPr sz="1200"/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Sollten nach der Sichtung aller Präsentationen weiterhin Fragen offen sein, schreiben Sie uns gerne eine E-Mail an: svk@aaa.uni-augsburg.de.</a:t>
            </a:r>
          </a:p>
          <a:p>
            <a:pPr algn="just">
              <a:lnSpc>
                <a:spcPts val="3033"/>
              </a:lnSpc>
              <a:spcBef>
                <a:spcPct val="0"/>
              </a:spcBef>
            </a:pPr>
            <a:endParaRPr lang="en-US" sz="2166">
              <a:solidFill>
                <a:srgbClr val="000000"/>
              </a:solidFill>
              <a:latin typeface="Canva Sans"/>
              <a:ea typeface="Canva Sans"/>
              <a:cs typeface="Canva Sans"/>
              <a:sym typeface="Canva San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Inhalt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172246" y="1516194"/>
            <a:ext cx="7797583" cy="3825611"/>
          </a:xfrm>
        </p:spPr>
        <p:txBody>
          <a:bodyPr/>
          <a:lstStyle/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E6FAA94-8438-4491-84FD-8649AC156BC2}"/>
              </a:ext>
            </a:extLst>
          </p:cNvPr>
          <p:cNvSpPr txBox="1"/>
          <p:nvPr/>
        </p:nvSpPr>
        <p:spPr>
          <a:xfrm>
            <a:off x="1005443" y="1396858"/>
            <a:ext cx="941871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Zahlen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rgbClr val="000000"/>
                </a:solidFill>
              </a:rPr>
              <a:t> Wie viel Geld braucht man?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rgbClr val="000000"/>
                </a:solidFill>
              </a:rPr>
              <a:t> Studienfinanzierung - Statistik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altLang="de-DE" sz="2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Stipendien</a:t>
            </a:r>
            <a:br>
              <a:rPr lang="de-DE" altLang="de-DE" sz="2000" dirty="0">
                <a:solidFill>
                  <a:srgbClr val="000000"/>
                </a:solidFill>
              </a:rPr>
            </a:br>
            <a:r>
              <a:rPr lang="de-DE" altLang="de-DE" sz="2000" dirty="0">
                <a:solidFill>
                  <a:srgbClr val="000000"/>
                </a:solidFill>
              </a:rPr>
              <a:t>	von der Universität Augsburg</a:t>
            </a:r>
            <a:br>
              <a:rPr lang="de-DE" altLang="de-DE" sz="2000" dirty="0">
                <a:solidFill>
                  <a:srgbClr val="000000"/>
                </a:solidFill>
              </a:rPr>
            </a:br>
            <a:r>
              <a:rPr lang="de-DE" altLang="de-DE" sz="2000" dirty="0">
                <a:solidFill>
                  <a:srgbClr val="000000"/>
                </a:solidFill>
              </a:rPr>
              <a:t>	von anderen Geldgeber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altLang="de-DE" sz="2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BAföG</a:t>
            </a:r>
            <a:r>
              <a:rPr lang="de-DE" altLang="de-DE" sz="2000" dirty="0">
                <a:solidFill>
                  <a:srgbClr val="000000"/>
                </a:solidFill>
              </a:rPr>
              <a:t> – für ausländische Studierende?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altLang="de-DE" sz="2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Unterstützung in Notlage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altLang="de-DE" sz="2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Studierendenjobs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i="1" dirty="0">
                <a:solidFill>
                  <a:srgbClr val="000000"/>
                </a:solidFill>
              </a:rPr>
              <a:t> Hiwi-Jobs</a:t>
            </a:r>
            <a:r>
              <a:rPr lang="de-DE" altLang="de-DE" sz="2000" dirty="0">
                <a:solidFill>
                  <a:srgbClr val="000000"/>
                </a:solidFill>
              </a:rPr>
              <a:t> an der Universität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i="1" dirty="0">
                <a:solidFill>
                  <a:srgbClr val="000000"/>
                </a:solidFill>
              </a:rPr>
              <a:t> Studierendenjobs</a:t>
            </a:r>
            <a:r>
              <a:rPr lang="de-DE" altLang="de-DE" sz="2000" dirty="0">
                <a:solidFill>
                  <a:srgbClr val="000000"/>
                </a:solidFill>
              </a:rPr>
              <a:t> außerhalb der Universität</a:t>
            </a:r>
          </a:p>
        </p:txBody>
      </p:sp>
    </p:spTree>
    <p:extLst>
      <p:ext uri="{BB962C8B-B14F-4D97-AF65-F5344CB8AC3E}">
        <p14:creationId xmlns:p14="http://schemas.microsoft.com/office/powerpoint/2010/main" val="2256339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ie (finanzielle) Situation ausländischer Studierender an deutschen Universitäten 1/2 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14008" y="1454331"/>
            <a:ext cx="10987219" cy="491163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aktuell knapp 500.000 ausländische Studierende in Deutschland</a:t>
            </a:r>
            <a:r>
              <a:rPr lang="de-DE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 (ca. 17 Prozent aller Studierenden)</a:t>
            </a:r>
          </a:p>
          <a:p>
            <a:pPr>
              <a:lnSpc>
                <a:spcPct val="150000"/>
              </a:lnSpc>
            </a:pPr>
            <a:r>
              <a:rPr lang="de-DE" altLang="de-DE" sz="1400" kern="0" dirty="0">
                <a:solidFill>
                  <a:srgbClr val="000000"/>
                </a:solidFill>
                <a:ea typeface="ＭＳ Ｐゴシック"/>
                <a:cs typeface="+mj-cs"/>
              </a:rPr>
              <a:t>        (</a:t>
            </a:r>
            <a:r>
              <a:rPr lang="de-DE" altLang="de-DE" sz="1400" kern="0" dirty="0">
                <a:solidFill>
                  <a:srgbClr val="000000"/>
                </a:solidFill>
                <a:ea typeface="ＭＳ Ｐゴシック"/>
                <a:cs typeface="+mj-cs"/>
                <a:hlinkClick r:id="rId2"/>
              </a:rPr>
              <a:t>https://mediendienst-integration.de/integration/hochschule.html</a:t>
            </a:r>
            <a:r>
              <a:rPr lang="de-DE" altLang="de-DE" sz="1400" kern="0" dirty="0">
                <a:solidFill>
                  <a:srgbClr val="000000"/>
                </a:solidFill>
                <a:ea typeface="ＭＳ Ｐゴシック"/>
                <a:cs typeface="+mj-cs"/>
              </a:rPr>
              <a:t>, 27.09.2025)</a:t>
            </a: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größte Motivation: hohe Lebensqualität, Wunsch nach dem Studium in Deutschland zu arbeiten sowie die wirtschaftliche Lage Deutschlands und der Wunsch, Deutschland kennenzulerne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95</a:t>
            </a: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% organisieren – </a:t>
            </a: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/>
                <a:cs typeface="+mj-cs"/>
              </a:rPr>
              <a:t>wie Sie!</a:t>
            </a: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/>
                <a:cs typeface="+mj-cs"/>
                <a:sym typeface="Wingdings" panose="05000000000000000000" pitchFamily="2" charset="2"/>
              </a:rPr>
              <a:t></a:t>
            </a: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/>
                <a:cs typeface="+mj-cs"/>
              </a:rPr>
              <a:t> </a:t>
            </a: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- ihren Aufenthalt selbst (kommen ohne Austausch-Programm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Herausforderungen: Zimmersuche, Kontakt zu deutschen </a:t>
            </a:r>
            <a:r>
              <a:rPr kumimoji="0" lang="de-DE" altLang="de-D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Kommiliton</a:t>
            </a: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*innen, Orientierung </a:t>
            </a:r>
          </a:p>
          <a:p>
            <a:pPr>
              <a:lnSpc>
                <a:spcPct val="150000"/>
              </a:lnSpc>
            </a:pP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      im Studiensystem sowie Finanzierung von Studium &amp; Lebensunterhalt</a:t>
            </a:r>
          </a:p>
          <a:p>
            <a:pPr>
              <a:lnSpc>
                <a:spcPct val="150000"/>
              </a:lnSpc>
            </a:pPr>
            <a:br>
              <a:rPr kumimoji="0" lang="de-DE" alt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rPr>
            </a:b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7434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ie (finanzielle) Situation ausländischer Studierender an deutschen Universitäten 2/2 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14008" y="1454331"/>
            <a:ext cx="10987219" cy="491163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/>
                </a:solidFill>
              </a:rPr>
              <a:t>Studienfinanzierung: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63 % Unterstützung durch die Eltern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50 % durch eigenen Verdienst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15 % durch Stipendien (überwiegend aus Deutschland)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</a:t>
            </a:r>
            <a:r>
              <a:rPr lang="de-DE" altLang="de-DE" i="1" dirty="0">
                <a:solidFill>
                  <a:schemeClr val="tx1"/>
                </a:solidFill>
              </a:rPr>
              <a:t>(54 % haben zwei oder drei Finanzierungsquellen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de-DE" altLang="de-DE" i="1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/>
                </a:solidFill>
              </a:rPr>
              <a:t>51% der ausländischen Studierenden jobben neben dem Studium, für 75% davon ist Jobben </a:t>
            </a:r>
            <a:r>
              <a:rPr lang="de-DE" altLang="de-DE" u="sng" dirty="0">
                <a:solidFill>
                  <a:schemeClr val="tx1"/>
                </a:solidFill>
              </a:rPr>
              <a:t>unbedingt</a:t>
            </a:r>
            <a:r>
              <a:rPr lang="de-DE" altLang="de-DE" dirty="0">
                <a:solidFill>
                  <a:schemeClr val="tx1"/>
                </a:solidFill>
              </a:rPr>
              <a:t> erforderlich  </a:t>
            </a:r>
          </a:p>
          <a:p>
            <a:pPr>
              <a:lnSpc>
                <a:spcPct val="150000"/>
              </a:lnSpc>
            </a:pP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8688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Lebenshaltungskosten in Augsburg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800" u="sng" spc="-55" dirty="0">
                <a:latin typeface="Calibri" panose="020F0502020204030204" pitchFamily="34" charset="0"/>
                <a:cs typeface="Calibri" panose="020F0502020204030204" pitchFamily="34" charset="0"/>
              </a:rPr>
              <a:t>mindestens</a:t>
            </a:r>
            <a:r>
              <a:rPr lang="de-DE" sz="1800" spc="-55" dirty="0">
                <a:latin typeface="Calibri" panose="020F0502020204030204" pitchFamily="34" charset="0"/>
                <a:cs typeface="Calibri" panose="020F0502020204030204" pitchFamily="34" charset="0"/>
              </a:rPr>
              <a:t> EUR 900 – 1.000 monatlich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d. 300 Euro/Monat 		Miete 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. 20 Euro/Monat 		Rundfunkbeitrag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. 130 Euro/Monat 		gesetzliche Krankenversicherung 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. 250 Euro/Monat 		Lebensmittel 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 – 200 Euro/Monat		Bücher, Kopien, Freizeit, Kleidung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sz="1800" spc="-55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800" spc="-55" dirty="0">
                <a:latin typeface="Calibri" panose="020F0502020204030204" pitchFamily="34" charset="0"/>
                <a:cs typeface="Calibri" panose="020F0502020204030204" pitchFamily="34" charset="0"/>
              </a:rPr>
              <a:t>Achtung: 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mesterbeitrag (Rückmeldung; ca. 150 Euro)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längerung der Aufenthaltstitel (nicht-EU  ca. 12.000 Euro)</a:t>
            </a: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241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tipendien an der Universität Augsburg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60098"/>
            <a:ext cx="10520528" cy="5118783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altLang="de-DE" dirty="0">
                <a:solidFill>
                  <a:srgbClr val="AD007C"/>
                </a:solidFill>
              </a:rPr>
              <a:t>Stipendien des Akademisches Auslandsamts: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- nur für Studierende ab dem 2. „</a:t>
            </a:r>
            <a:r>
              <a:rPr lang="de-DE" altLang="de-DE" dirty="0">
                <a:solidFill>
                  <a:srgbClr val="AD007C"/>
                </a:solidFill>
              </a:rPr>
              <a:t>Master</a:t>
            </a:r>
            <a:r>
              <a:rPr lang="de-DE" altLang="de-DE" dirty="0">
                <a:solidFill>
                  <a:schemeClr val="tx1"/>
                </a:solidFill>
              </a:rPr>
              <a:t>semester“ / ab dem 3. „</a:t>
            </a:r>
            <a:r>
              <a:rPr lang="de-DE" altLang="de-DE" dirty="0">
                <a:solidFill>
                  <a:srgbClr val="AD007C"/>
                </a:solidFill>
              </a:rPr>
              <a:t>Bachelor</a:t>
            </a:r>
            <a:r>
              <a:rPr lang="de-DE" altLang="de-DE" dirty="0">
                <a:solidFill>
                  <a:schemeClr val="tx1"/>
                </a:solidFill>
              </a:rPr>
              <a:t>semester“</a:t>
            </a:r>
          </a:p>
          <a:p>
            <a:pPr>
              <a:lnSpc>
                <a:spcPct val="150000"/>
              </a:lnSpc>
            </a:pPr>
            <a:r>
              <a:rPr lang="de-DE" altLang="de-DE" dirty="0">
                <a:solidFill>
                  <a:schemeClr val="tx1"/>
                </a:solidFill>
              </a:rPr>
              <a:t>	- sehr begrenzte Anzahl</a:t>
            </a:r>
          </a:p>
          <a:p>
            <a:pPr>
              <a:lnSpc>
                <a:spcPct val="150000"/>
              </a:lnSpc>
            </a:pPr>
            <a:r>
              <a:rPr lang="de-DE" altLang="de-DE" dirty="0">
                <a:solidFill>
                  <a:schemeClr val="tx1"/>
                </a:solidFill>
              </a:rPr>
              <a:t>	- Kriterien: Bedürftigkeit &amp; Würdigkeit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- Bewerbung nur möglich, wenn Ausschreibung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 Achten Sie auf Aushänge, Flyer, </a:t>
            </a:r>
            <a:r>
              <a:rPr lang="de-DE" alt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aaa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-</a:t>
            </a:r>
            <a:r>
              <a:rPr lang="de-DE" alt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infoMail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-Verteile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altLang="de-DE" dirty="0">
                <a:solidFill>
                  <a:srgbClr val="AD007C"/>
                </a:solidFill>
              </a:rPr>
              <a:t>Stipendienreferat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- „Bücherstipendium“ (einmalig ab 100 Euro)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- Förderung für Frauen (&amp; Familien) </a:t>
            </a:r>
          </a:p>
          <a:p>
            <a:pPr>
              <a:lnSpc>
                <a:spcPct val="150000"/>
              </a:lnSpc>
            </a:pPr>
            <a:r>
              <a:rPr lang="de-DE" altLang="de-DE" dirty="0">
                <a:solidFill>
                  <a:schemeClr val="tx1"/>
                </a:solidFill>
              </a:rPr>
              <a:t>	- „Deutschlandstipendium“ (300 Euro/Monat)	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sz="1800" i="1" dirty="0">
                <a:solidFill>
                  <a:srgbClr val="AD007C"/>
                </a:solidFill>
                <a:sym typeface="Wingdings" panose="05000000000000000000" pitchFamily="2" charset="2"/>
              </a:rPr>
              <a:t> </a:t>
            </a:r>
            <a:r>
              <a:rPr lang="de-DE" altLang="de-DE" sz="1800" i="1" dirty="0">
                <a:solidFill>
                  <a:srgbClr val="AD007C"/>
                </a:solidFill>
                <a:sym typeface="Wingdings" panose="05000000000000000000" pitchFamily="2" charset="2"/>
                <a:hlinkClick r:id="rId2"/>
              </a:rPr>
              <a:t>https://www.uni-augsburg.de/de/studium/studieren-augsburg/stipendien/dasdeutschlandstipendium/</a:t>
            </a:r>
            <a:endParaRPr lang="de-DE" altLang="de-DE" sz="1800" i="1" dirty="0">
              <a:solidFill>
                <a:srgbClr val="AD007C"/>
              </a:solidFill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br>
              <a:rPr lang="de-DE" altLang="de-DE" i="1" dirty="0">
                <a:solidFill>
                  <a:srgbClr val="AD007C"/>
                </a:solidFill>
                <a:sym typeface="Wingdings" panose="05000000000000000000" pitchFamily="2" charset="2"/>
              </a:rPr>
            </a:br>
            <a:endParaRPr lang="de-DE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6E5CC1-AD0F-D80E-73E4-F944A46352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6091" y="2256309"/>
            <a:ext cx="2838596" cy="318786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8177BFF6-6890-3260-EF99-A4455A53CECA}"/>
              </a:ext>
            </a:extLst>
          </p:cNvPr>
          <p:cNvCxnSpPr>
            <a:cxnSpLocks/>
          </p:cNvCxnSpPr>
          <p:nvPr/>
        </p:nvCxnSpPr>
        <p:spPr>
          <a:xfrm flipV="1">
            <a:off x="7417942" y="3429000"/>
            <a:ext cx="1654139" cy="2354220"/>
          </a:xfrm>
          <a:prstGeom prst="straightConnector1">
            <a:avLst/>
          </a:prstGeom>
          <a:ln w="57150">
            <a:solidFill>
              <a:srgbClr val="AD00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225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tipendien anderer Geldgeber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298480"/>
            <a:ext cx="9559013" cy="4292423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altLang="de-DE" dirty="0">
                <a:solidFill>
                  <a:srgbClr val="AD007C"/>
                </a:solidFill>
              </a:rPr>
              <a:t>Vielzahl (politischer) Stiftungen &amp; Verbände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i="1" dirty="0">
                <a:solidFill>
                  <a:schemeClr val="tx1"/>
                </a:solidFill>
              </a:rPr>
              <a:t>Friedrich-Ebert-Stiftung, Hanns-Seidel-Stiftung, Konrad-Adenauer-Stiftung, Heinrich-Böll-Stiftung, Rosa-Luxemburg-Stiftung</a:t>
            </a:r>
            <a:br>
              <a:rPr lang="de-DE" altLang="de-DE" i="1" dirty="0">
                <a:solidFill>
                  <a:schemeClr val="tx1"/>
                </a:solidFill>
              </a:rPr>
            </a:br>
            <a:r>
              <a:rPr lang="de-DE" altLang="de-DE" i="1" dirty="0" err="1">
                <a:solidFill>
                  <a:schemeClr val="tx1"/>
                </a:solidFill>
              </a:rPr>
              <a:t>Cusanuswerk</a:t>
            </a:r>
            <a:r>
              <a:rPr lang="de-DE" altLang="de-DE" i="1" dirty="0">
                <a:solidFill>
                  <a:schemeClr val="tx1"/>
                </a:solidFill>
              </a:rPr>
              <a:t>, Evangelisches Studienwerk, Avicenna-Studienwerk</a:t>
            </a:r>
            <a:br>
              <a:rPr lang="de-DE" altLang="de-DE" i="1" dirty="0">
                <a:solidFill>
                  <a:schemeClr val="tx1"/>
                </a:solidFill>
              </a:rPr>
            </a:br>
            <a:r>
              <a:rPr lang="de-DE" altLang="de-DE" i="1" dirty="0">
                <a:solidFill>
                  <a:schemeClr val="tx1"/>
                </a:solidFill>
              </a:rPr>
              <a:t>Stifterverband für die Deutsche Wirtschaft, Stiftung der Deutschen Wirtschaft, DAAD</a:t>
            </a:r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765" dirty="0">
              <a:solidFill>
                <a:srgbClr val="0433FF"/>
              </a:solidFill>
              <a:latin typeface="Arial MT"/>
              <a:cs typeface="Arial MT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altLang="de-DE" dirty="0">
                <a:solidFill>
                  <a:srgbClr val="AD007C"/>
                </a:solidFill>
                <a:sym typeface="Wingdings" panose="05000000000000000000" pitchFamily="2" charset="2"/>
              </a:rPr>
              <a:t>Vielzahl an Datenbanken; die wichtigsten:</a:t>
            </a:r>
            <a:b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	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  <a:hlinkClick r:id="rId2"/>
              </a:rPr>
              <a:t>www.stipendiumplus.de</a:t>
            </a:r>
            <a:b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	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  <a:hlinkClick r:id="rId3"/>
              </a:rPr>
              <a:t>https://www.begabungslotse.de/themen/stipendium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 	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  <a:hlinkClick r:id="rId4"/>
              </a:rPr>
              <a:t>https://www.daad.de/deutschland/stipendium/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09185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BAföG für ausländische Studierende 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BAföG – 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B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undes-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A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usbildungs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fö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rderungs-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G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esetz</a:t>
            </a:r>
            <a:b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</a:b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„Geld vom Staat“ 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50% Zuschuss &amp; 50% zinsloses Darlehe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max.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992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 Euro/Monat (abhängig vom Verdienst der Eltern, Höhe der Miete etc.)</a:t>
            </a:r>
            <a:b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</a:b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Rückzahlung Darlehen: fünf Jahre nach dem Ende der Regelstudienzeit, max. 10.010 Euro</a:t>
            </a:r>
            <a:endParaRPr lang="de-DE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de-DE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ausländische Studierende können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auch BAföG beziehen, allerdings hohe Hürde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Ansprechpartner: Studierendenwerk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Augsburg,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hlinkClick r:id="rId3"/>
              </a:rPr>
              <a:t>https://studierendenwerk-augsburg.de/bafoeg-finanzierung/bafoeg/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lang="de-DE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Allg. Informationen: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hlinkClick r:id="rId4"/>
              </a:rPr>
              <a:t>https://www.mystipendium.de/bafoeg/bafoeg-fuer-auslaender</a:t>
            </a:r>
            <a:endParaRPr lang="de-DE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F6AAD31-855C-4613-B3FB-74D8496612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15103" y="1394274"/>
            <a:ext cx="2688569" cy="1707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214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Einrichtungen, Kommunikation">
      <a:dk1>
        <a:sysClr val="windowText" lastClr="000000"/>
      </a:dk1>
      <a:lt1>
        <a:sysClr val="window" lastClr="FFFFFF"/>
      </a:lt1>
      <a:dk2>
        <a:srgbClr val="AD007C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WiWi" id="{7E59AA7B-5322-AB46-B792-6D0585BF3429}" vid="{BA5AD586-BAC6-6047-82C3-E239C9A49C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sentationsmaster_vorlage_serviceeinrichtungen_kommunikation</Template>
  <TotalTime>0</TotalTime>
  <Words>1373</Words>
  <Application>Microsoft Office PowerPoint</Application>
  <PresentationFormat>Breitbild</PresentationFormat>
  <Paragraphs>144</Paragraphs>
  <Slides>25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5" baseType="lpstr">
      <vt:lpstr>ＭＳ Ｐゴシック</vt:lpstr>
      <vt:lpstr>Arial</vt:lpstr>
      <vt:lpstr>Arial MT</vt:lpstr>
      <vt:lpstr>Calibri</vt:lpstr>
      <vt:lpstr>Canva Sans</vt:lpstr>
      <vt:lpstr>Canva Sans Bold</vt:lpstr>
      <vt:lpstr>Segoe UI</vt:lpstr>
      <vt:lpstr>Symbol</vt:lpstr>
      <vt:lpstr>Wingdings</vt:lpstr>
      <vt:lpstr>Office</vt:lpstr>
      <vt:lpstr>Studienfinanzierung</vt:lpstr>
      <vt:lpstr>PowerPoint-Präsentation</vt:lpstr>
      <vt:lpstr>Inhalt</vt:lpstr>
      <vt:lpstr>Die (finanzielle) Situation ausländischer Studierender an deutschen Universitäten 1/2 </vt:lpstr>
      <vt:lpstr>Die (finanzielle) Situation ausländischer Studierender an deutschen Universitäten 2/2 </vt:lpstr>
      <vt:lpstr>Lebenshaltungskosten in Augsburg</vt:lpstr>
      <vt:lpstr>Stipendien an der Universität Augsburg</vt:lpstr>
      <vt:lpstr>Stipendien anderer Geldgeber</vt:lpstr>
      <vt:lpstr>BAföG für ausländische Studierende </vt:lpstr>
      <vt:lpstr>Unterstützung in Notlagen</vt:lpstr>
      <vt:lpstr>Studierendenjobs – rechtliche Grundlagen</vt:lpstr>
      <vt:lpstr>Hiwi-Stellen an der Universität 1/2</vt:lpstr>
      <vt:lpstr>Hiwi-Stellen an der Universität 2/2</vt:lpstr>
      <vt:lpstr>Studierendenwerk: www.studierendenjobs.de</vt:lpstr>
      <vt:lpstr>Zeitarbeitsfirmen in Augsburg</vt:lpstr>
      <vt:lpstr>Digicampus: Jobbörse</vt:lpstr>
      <vt:lpstr>Digicampus: Jobbörse</vt:lpstr>
      <vt:lpstr>Digicampus: Jobbörse</vt:lpstr>
      <vt:lpstr>Digicampus: Jobbörse</vt:lpstr>
      <vt:lpstr>Digicampus: Jobbörse</vt:lpstr>
      <vt:lpstr>Digicampus: Jobbörse</vt:lpstr>
      <vt:lpstr>Digicampus: Jobbörse</vt:lpstr>
      <vt:lpstr>Jobportal Uni Augsburg: Praktikum &amp; Berufseinstieg, deutschlandweit</vt:lpstr>
      <vt:lpstr>Career Service der Universität Augsbur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Birgit Reß</dc:creator>
  <cp:lastModifiedBy>Olivia Mannes</cp:lastModifiedBy>
  <cp:revision>139</cp:revision>
  <dcterms:created xsi:type="dcterms:W3CDTF">2021-08-24T14:00:05Z</dcterms:created>
  <dcterms:modified xsi:type="dcterms:W3CDTF">2026-03-24T11:08:04Z</dcterms:modified>
</cp:coreProperties>
</file>